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6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FCBD97-0F90-3304-13CF-C52922558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AD09764D-646E-9B34-9222-564E64802A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09764D-646E-9B34-9222-564E64802A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9FEB13-EBD1-E728-0CE9-EDF65442A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F50AC-F552-A61C-1166-A6A80075E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olded Corner 67">
            <a:extLst>
              <a:ext uri="{FF2B5EF4-FFF2-40B4-BE49-F238E27FC236}">
                <a16:creationId xmlns:a16="http://schemas.microsoft.com/office/drawing/2014/main" id="{5909596E-C0A7-34EC-0E8C-EF34BC9D248F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6" name="Round Same Side Corner Rectangle 69">
            <a:extLst>
              <a:ext uri="{FF2B5EF4-FFF2-40B4-BE49-F238E27FC236}">
                <a16:creationId xmlns:a16="http://schemas.microsoft.com/office/drawing/2014/main" id="{80CEFED6-AB4F-4236-09E3-619FA30889E3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9FDF8D41-3325-1538-AD54-3CD398C0462B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A65F8AC-88A9-6926-08DC-510AAB2579E1}"/>
              </a:ext>
            </a:extLst>
          </p:cNvPr>
          <p:cNvCxnSpPr>
            <a:cxnSpLocks/>
            <a:stCxn id="9" idx="6"/>
            <a:endCxn id="10" idx="2"/>
          </p:cNvCxnSpPr>
          <p:nvPr/>
        </p:nvCxnSpPr>
        <p:spPr>
          <a:xfrm flipH="1">
            <a:off x="2775398" y="2609671"/>
            <a:ext cx="12626" cy="1953624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2002BF09-91C5-0C77-DB13-68F72E2BDA99}"/>
              </a:ext>
            </a:extLst>
          </p:cNvPr>
          <p:cNvSpPr/>
          <p:nvPr/>
        </p:nvSpPr>
        <p:spPr>
          <a:xfrm rot="5400000">
            <a:off x="2254046" y="1541690"/>
            <a:ext cx="1067956" cy="10680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05F7F22-55A3-1000-936E-E1EB72D11462}"/>
              </a:ext>
            </a:extLst>
          </p:cNvPr>
          <p:cNvSpPr/>
          <p:nvPr/>
        </p:nvSpPr>
        <p:spPr>
          <a:xfrm rot="5400000">
            <a:off x="2241422" y="4563268"/>
            <a:ext cx="1067951" cy="106800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DE28BCF-70EA-7527-A028-FBCA264FFBC8}"/>
              </a:ext>
            </a:extLst>
          </p:cNvPr>
          <p:cNvSpPr/>
          <p:nvPr/>
        </p:nvSpPr>
        <p:spPr>
          <a:xfrm rot="5400000">
            <a:off x="2242119" y="3040508"/>
            <a:ext cx="1066555" cy="106655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BE0B1F5-0F8E-5ABE-2885-0BED3CC23E09}"/>
              </a:ext>
            </a:extLst>
          </p:cNvPr>
          <p:cNvGrpSpPr>
            <a:grpSpLocks noChangeAspect="1"/>
          </p:cNvGrpSpPr>
          <p:nvPr/>
        </p:nvGrpSpPr>
        <p:grpSpPr>
          <a:xfrm>
            <a:off x="2575304" y="4777932"/>
            <a:ext cx="400186" cy="638676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3" name="Freeform 21">
              <a:extLst>
                <a:ext uri="{FF2B5EF4-FFF2-40B4-BE49-F238E27FC236}">
                  <a16:creationId xmlns:a16="http://schemas.microsoft.com/office/drawing/2014/main" id="{EAC73729-80CC-2E74-CC3B-633392C897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/>
            </a:p>
          </p:txBody>
        </p:sp>
        <p:sp>
          <p:nvSpPr>
            <p:cNvPr id="14" name="Freeform 22">
              <a:extLst>
                <a:ext uri="{FF2B5EF4-FFF2-40B4-BE49-F238E27FC236}">
                  <a16:creationId xmlns:a16="http://schemas.microsoft.com/office/drawing/2014/main" id="{1333D2C7-8AD3-1F4C-97ED-5C5C02920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4501B82-1FF6-E6F3-6C24-BFECB1CDB467}"/>
              </a:ext>
            </a:extLst>
          </p:cNvPr>
          <p:cNvGrpSpPr/>
          <p:nvPr/>
        </p:nvGrpSpPr>
        <p:grpSpPr>
          <a:xfrm>
            <a:off x="2471788" y="1862438"/>
            <a:ext cx="632472" cy="42650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9F0A7E2F-328E-5755-7863-CADC9908AF96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FC0CCBD3-6AB7-3B10-BF15-2960A6BB5AE7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E7449247-53CC-B245-F6F8-6CB0EA3D7D03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376CAA6-3895-E192-EF78-C4C2F1B7D5D4}"/>
              </a:ext>
            </a:extLst>
          </p:cNvPr>
          <p:cNvGrpSpPr>
            <a:grpSpLocks noChangeAspect="1"/>
          </p:cNvGrpSpPr>
          <p:nvPr/>
        </p:nvGrpSpPr>
        <p:grpSpPr>
          <a:xfrm>
            <a:off x="2555167" y="3381079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20" name="Freeform 26">
              <a:extLst>
                <a:ext uri="{FF2B5EF4-FFF2-40B4-BE49-F238E27FC236}">
                  <a16:creationId xmlns:a16="http://schemas.microsoft.com/office/drawing/2014/main" id="{460B171E-F91D-29EA-391D-BBD17E51D5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5BDF1BE2-FDE4-6390-68EE-8699CC6603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13F14D51-719D-AE2D-14A5-9090B910FF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AC8E84B7-5AE2-2598-DFAB-4D9886521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36F37AC4-CC5E-A939-BE4B-A2B537522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47659FDC-6062-4902-89F9-C4D0629D6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7828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8</TotalTime>
  <Words>41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2 Concep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28</cp:revision>
  <dcterms:created xsi:type="dcterms:W3CDTF">2021-03-31T02:49:57Z</dcterms:created>
  <dcterms:modified xsi:type="dcterms:W3CDTF">2025-10-16T10:59:58Z</dcterms:modified>
  <cp:category/>
</cp:coreProperties>
</file>